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3068D-4BC0-74D7-DA6A-43BC8914D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2335E-8B86-BCE3-325C-1A2CD10FC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2335E-8B86-BCE3-325C-1A2CD10FC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BA9F6-91B8-F178-EFFE-7F9122690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14A3D0D-65E8-160C-3ACB-03297E2474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1" name="Google Shape;2173;p36">
            <a:extLst>
              <a:ext uri="{FF2B5EF4-FFF2-40B4-BE49-F238E27FC236}">
                <a16:creationId xmlns:a16="http://schemas.microsoft.com/office/drawing/2014/main" id="{60405AAF-F478-3F13-9272-052BB12D4B5C}"/>
              </a:ext>
            </a:extLst>
          </p:cNvPr>
          <p:cNvSpPr/>
          <p:nvPr/>
        </p:nvSpPr>
        <p:spPr>
          <a:xfrm>
            <a:off x="6206482" y="2148420"/>
            <a:ext cx="2932173" cy="2124692"/>
          </a:xfrm>
          <a:custGeom>
            <a:avLst/>
            <a:gdLst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540319 w 4292311"/>
              <a:gd name="connsiteY2" fmla="*/ 1995854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625849 w 4292311"/>
              <a:gd name="connsiteY2" fmla="*/ 2002982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18542 h 2004647"/>
              <a:gd name="connsiteX1" fmla="*/ 494034 w 4292311"/>
              <a:gd name="connsiteY1" fmla="*/ 2004647 h 2004647"/>
              <a:gd name="connsiteX2" fmla="*/ 1625849 w 4292311"/>
              <a:gd name="connsiteY2" fmla="*/ 1994190 h 2004647"/>
              <a:gd name="connsiteX3" fmla="*/ 2749131 w 4292311"/>
              <a:gd name="connsiteY3" fmla="*/ 12590 h 2004647"/>
              <a:gd name="connsiteX4" fmla="*/ 3808734 w 4292311"/>
              <a:gd name="connsiteY4" fmla="*/ 0 h 2004647"/>
              <a:gd name="connsiteX5" fmla="*/ 4292311 w 4292311"/>
              <a:gd name="connsiteY5" fmla="*/ 791308 h 2004647"/>
              <a:gd name="connsiteX0" fmla="*/ 0 w 4263801"/>
              <a:gd name="connsiteY0" fmla="*/ 1218542 h 2004647"/>
              <a:gd name="connsiteX1" fmla="*/ 494034 w 4263801"/>
              <a:gd name="connsiteY1" fmla="*/ 2004647 h 2004647"/>
              <a:gd name="connsiteX2" fmla="*/ 1625849 w 4263801"/>
              <a:gd name="connsiteY2" fmla="*/ 1994190 h 2004647"/>
              <a:gd name="connsiteX3" fmla="*/ 2749131 w 4263801"/>
              <a:gd name="connsiteY3" fmla="*/ 12590 h 2004647"/>
              <a:gd name="connsiteX4" fmla="*/ 3808734 w 4263801"/>
              <a:gd name="connsiteY4" fmla="*/ 0 h 2004647"/>
              <a:gd name="connsiteX5" fmla="*/ 4263801 w 4263801"/>
              <a:gd name="connsiteY5" fmla="*/ 791308 h 2004647"/>
              <a:gd name="connsiteX0" fmla="*/ 0 w 4221036"/>
              <a:gd name="connsiteY0" fmla="*/ 1218542 h 2004647"/>
              <a:gd name="connsiteX1" fmla="*/ 494034 w 4221036"/>
              <a:gd name="connsiteY1" fmla="*/ 2004647 h 2004647"/>
              <a:gd name="connsiteX2" fmla="*/ 1625849 w 4221036"/>
              <a:gd name="connsiteY2" fmla="*/ 1994190 h 2004647"/>
              <a:gd name="connsiteX3" fmla="*/ 2749131 w 4221036"/>
              <a:gd name="connsiteY3" fmla="*/ 12590 h 2004647"/>
              <a:gd name="connsiteX4" fmla="*/ 3808734 w 4221036"/>
              <a:gd name="connsiteY4" fmla="*/ 0 h 2004647"/>
              <a:gd name="connsiteX5" fmla="*/ 4221036 w 4221036"/>
              <a:gd name="connsiteY5" fmla="*/ 798435 h 2004647"/>
              <a:gd name="connsiteX0" fmla="*/ 0 w 4249546"/>
              <a:gd name="connsiteY0" fmla="*/ 1218542 h 2004647"/>
              <a:gd name="connsiteX1" fmla="*/ 494034 w 4249546"/>
              <a:gd name="connsiteY1" fmla="*/ 2004647 h 2004647"/>
              <a:gd name="connsiteX2" fmla="*/ 1625849 w 4249546"/>
              <a:gd name="connsiteY2" fmla="*/ 1994190 h 2004647"/>
              <a:gd name="connsiteX3" fmla="*/ 2749131 w 4249546"/>
              <a:gd name="connsiteY3" fmla="*/ 12590 h 2004647"/>
              <a:gd name="connsiteX4" fmla="*/ 3808734 w 4249546"/>
              <a:gd name="connsiteY4" fmla="*/ 0 h 2004647"/>
              <a:gd name="connsiteX5" fmla="*/ 4249546 w 4249546"/>
              <a:gd name="connsiteY5" fmla="*/ 798435 h 2004647"/>
              <a:gd name="connsiteX0" fmla="*/ 0 w 3808734"/>
              <a:gd name="connsiteY0" fmla="*/ 1218542 h 2004647"/>
              <a:gd name="connsiteX1" fmla="*/ 494034 w 3808734"/>
              <a:gd name="connsiteY1" fmla="*/ 2004647 h 2004647"/>
              <a:gd name="connsiteX2" fmla="*/ 1625849 w 3808734"/>
              <a:gd name="connsiteY2" fmla="*/ 1994190 h 2004647"/>
              <a:gd name="connsiteX3" fmla="*/ 2749131 w 3808734"/>
              <a:gd name="connsiteY3" fmla="*/ 12590 h 2004647"/>
              <a:gd name="connsiteX4" fmla="*/ 3808734 w 3808734"/>
              <a:gd name="connsiteY4" fmla="*/ 0 h 2004647"/>
              <a:gd name="connsiteX0" fmla="*/ 0 w 2749131"/>
              <a:gd name="connsiteY0" fmla="*/ 1205952 h 1992057"/>
              <a:gd name="connsiteX1" fmla="*/ 494034 w 2749131"/>
              <a:gd name="connsiteY1" fmla="*/ 1992057 h 1992057"/>
              <a:gd name="connsiteX2" fmla="*/ 1625849 w 2749131"/>
              <a:gd name="connsiteY2" fmla="*/ 1981600 h 1992057"/>
              <a:gd name="connsiteX3" fmla="*/ 2749131 w 2749131"/>
              <a:gd name="connsiteY3" fmla="*/ 0 h 199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9131" h="1992057" extrusionOk="0">
                <a:moveTo>
                  <a:pt x="0" y="1205952"/>
                </a:moveTo>
                <a:lnTo>
                  <a:pt x="494034" y="1992057"/>
                </a:lnTo>
                <a:lnTo>
                  <a:pt x="1625849" y="1981600"/>
                </a:lnTo>
                <a:lnTo>
                  <a:pt x="2749131" y="0"/>
                </a:lnTo>
              </a:path>
            </a:pathLst>
          </a:custGeom>
          <a:noFill/>
          <a:ln w="165100" cap="flat" cmpd="sng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2" name="Google Shape;2174;p36">
            <a:extLst>
              <a:ext uri="{FF2B5EF4-FFF2-40B4-BE49-F238E27FC236}">
                <a16:creationId xmlns:a16="http://schemas.microsoft.com/office/drawing/2014/main" id="{F81AFE11-4C56-004C-8D63-D3E71B338BEB}"/>
              </a:ext>
            </a:extLst>
          </p:cNvPr>
          <p:cNvSpPr/>
          <p:nvPr/>
        </p:nvSpPr>
        <p:spPr>
          <a:xfrm rot="10800000">
            <a:off x="6217754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068988" y="754584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3" name="Google Shape;2171;p36">
            <a:extLst>
              <a:ext uri="{FF2B5EF4-FFF2-40B4-BE49-F238E27FC236}">
                <a16:creationId xmlns:a16="http://schemas.microsoft.com/office/drawing/2014/main" id="{A7691384-FF0B-5993-F981-D014702703CE}"/>
              </a:ext>
            </a:extLst>
          </p:cNvPr>
          <p:cNvSpPr/>
          <p:nvPr/>
        </p:nvSpPr>
        <p:spPr>
          <a:xfrm>
            <a:off x="1361553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119229" y="714391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4" name="Google Shape;2172;p36">
            <a:extLst>
              <a:ext uri="{FF2B5EF4-FFF2-40B4-BE49-F238E27FC236}">
                <a16:creationId xmlns:a16="http://schemas.microsoft.com/office/drawing/2014/main" id="{B45B86A5-A3E2-C77A-2430-EF7063A82ED5}"/>
              </a:ext>
            </a:extLst>
          </p:cNvPr>
          <p:cNvSpPr/>
          <p:nvPr/>
        </p:nvSpPr>
        <p:spPr>
          <a:xfrm>
            <a:off x="3810450" y="2125619"/>
            <a:ext cx="4585706" cy="2147498"/>
          </a:xfrm>
          <a:custGeom>
            <a:avLst/>
            <a:gdLst/>
            <a:ahLst/>
            <a:cxnLst/>
            <a:rect l="l" t="t" r="r" b="b"/>
            <a:pathLst>
              <a:path w="4299438" h="2013439" extrusionOk="0">
                <a:moveTo>
                  <a:pt x="0" y="1099040"/>
                </a:moveTo>
                <a:lnTo>
                  <a:pt x="501161" y="2013439"/>
                </a:lnTo>
                <a:lnTo>
                  <a:pt x="1547446" y="1995854"/>
                </a:lnTo>
                <a:lnTo>
                  <a:pt x="2699238" y="0"/>
                </a:lnTo>
                <a:lnTo>
                  <a:pt x="3815861" y="8792"/>
                </a:lnTo>
                <a:lnTo>
                  <a:pt x="4299438" y="800100"/>
                </a:lnTo>
              </a:path>
            </a:pathLst>
          </a:custGeom>
          <a:noFill/>
          <a:ln w="1651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5" name="Google Shape;2176;p36">
            <a:extLst>
              <a:ext uri="{FF2B5EF4-FFF2-40B4-BE49-F238E27FC236}">
                <a16:creationId xmlns:a16="http://schemas.microsoft.com/office/drawing/2014/main" id="{ABD07743-25D1-67F9-B16C-233D2A446C13}"/>
              </a:ext>
            </a:extLst>
          </p:cNvPr>
          <p:cNvSpPr txBox="1"/>
          <p:nvPr/>
        </p:nvSpPr>
        <p:spPr>
          <a:xfrm>
            <a:off x="1265942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6" name="Google Shape;2177;p36">
            <a:extLst>
              <a:ext uri="{FF2B5EF4-FFF2-40B4-BE49-F238E27FC236}">
                <a16:creationId xmlns:a16="http://schemas.microsoft.com/office/drawing/2014/main" id="{735ED56B-4614-5779-B259-6DA046F26F39}"/>
              </a:ext>
            </a:extLst>
          </p:cNvPr>
          <p:cNvSpPr txBox="1"/>
          <p:nvPr/>
        </p:nvSpPr>
        <p:spPr>
          <a:xfrm>
            <a:off x="1265942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7" name="Google Shape;2178;p36">
            <a:extLst>
              <a:ext uri="{FF2B5EF4-FFF2-40B4-BE49-F238E27FC236}">
                <a16:creationId xmlns:a16="http://schemas.microsoft.com/office/drawing/2014/main" id="{42E17E80-447F-7E41-26C4-EE33DDE8A122}"/>
              </a:ext>
            </a:extLst>
          </p:cNvPr>
          <p:cNvSpPr txBox="1"/>
          <p:nvPr/>
        </p:nvSpPr>
        <p:spPr>
          <a:xfrm>
            <a:off x="8458080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8" name="Google Shape;2179;p36">
            <a:extLst>
              <a:ext uri="{FF2B5EF4-FFF2-40B4-BE49-F238E27FC236}">
                <a16:creationId xmlns:a16="http://schemas.microsoft.com/office/drawing/2014/main" id="{BFC6DD8A-03A6-C503-B351-C7066B50C490}"/>
              </a:ext>
            </a:extLst>
          </p:cNvPr>
          <p:cNvSpPr txBox="1"/>
          <p:nvPr/>
        </p:nvSpPr>
        <p:spPr>
          <a:xfrm>
            <a:off x="8458080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9" name="Google Shape;2180;p36">
            <a:extLst>
              <a:ext uri="{FF2B5EF4-FFF2-40B4-BE49-F238E27FC236}">
                <a16:creationId xmlns:a16="http://schemas.microsoft.com/office/drawing/2014/main" id="{4337E4A7-2B2D-1E0E-EC84-4F46448A1726}"/>
              </a:ext>
            </a:extLst>
          </p:cNvPr>
          <p:cNvSpPr txBox="1"/>
          <p:nvPr/>
        </p:nvSpPr>
        <p:spPr>
          <a:xfrm>
            <a:off x="3663322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0" name="Google Shape;2181;p36">
            <a:extLst>
              <a:ext uri="{FF2B5EF4-FFF2-40B4-BE49-F238E27FC236}">
                <a16:creationId xmlns:a16="http://schemas.microsoft.com/office/drawing/2014/main" id="{7EC11705-868D-F0D2-293E-17D7DC6AAEA5}"/>
              </a:ext>
            </a:extLst>
          </p:cNvPr>
          <p:cNvSpPr txBox="1"/>
          <p:nvPr/>
        </p:nvSpPr>
        <p:spPr>
          <a:xfrm>
            <a:off x="3663322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1" name="Google Shape;2182;p36">
            <a:extLst>
              <a:ext uri="{FF2B5EF4-FFF2-40B4-BE49-F238E27FC236}">
                <a16:creationId xmlns:a16="http://schemas.microsoft.com/office/drawing/2014/main" id="{B284F0EA-59C7-1ED2-55B8-B15F18EB3123}"/>
              </a:ext>
            </a:extLst>
          </p:cNvPr>
          <p:cNvSpPr txBox="1"/>
          <p:nvPr/>
        </p:nvSpPr>
        <p:spPr>
          <a:xfrm>
            <a:off x="6060700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02" name="Google Shape;2183;p36">
            <a:extLst>
              <a:ext uri="{FF2B5EF4-FFF2-40B4-BE49-F238E27FC236}">
                <a16:creationId xmlns:a16="http://schemas.microsoft.com/office/drawing/2014/main" id="{151D6506-C462-F3D3-BDDA-4FE38CC0344F}"/>
              </a:ext>
            </a:extLst>
          </p:cNvPr>
          <p:cNvSpPr txBox="1"/>
          <p:nvPr/>
        </p:nvSpPr>
        <p:spPr>
          <a:xfrm>
            <a:off x="6060700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3" name="Freeform 1532">
            <a:extLst>
              <a:ext uri="{FF2B5EF4-FFF2-40B4-BE49-F238E27FC236}">
                <a16:creationId xmlns:a16="http://schemas.microsoft.com/office/drawing/2014/main" id="{BB278CEE-3EC0-57E4-F08B-C9DF8FC0C594}"/>
              </a:ext>
            </a:extLst>
          </p:cNvPr>
          <p:cNvSpPr>
            <a:spLocks noEditPoints="1"/>
          </p:cNvSpPr>
          <p:nvPr/>
        </p:nvSpPr>
        <p:spPr bwMode="auto">
          <a:xfrm>
            <a:off x="7450077" y="3407515"/>
            <a:ext cx="204829" cy="201420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4" name="Freeform 1533">
            <a:extLst>
              <a:ext uri="{FF2B5EF4-FFF2-40B4-BE49-F238E27FC236}">
                <a16:creationId xmlns:a16="http://schemas.microsoft.com/office/drawing/2014/main" id="{7F6A5C27-624D-4E40-10B7-7352228B4A7C}"/>
              </a:ext>
            </a:extLst>
          </p:cNvPr>
          <p:cNvSpPr>
            <a:spLocks/>
          </p:cNvSpPr>
          <p:nvPr/>
        </p:nvSpPr>
        <p:spPr bwMode="auto">
          <a:xfrm>
            <a:off x="6885035" y="2848411"/>
            <a:ext cx="229551" cy="225726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5" name="Freeform 1534">
            <a:extLst>
              <a:ext uri="{FF2B5EF4-FFF2-40B4-BE49-F238E27FC236}">
                <a16:creationId xmlns:a16="http://schemas.microsoft.com/office/drawing/2014/main" id="{129E40AD-45D7-1EB4-BF46-7C83AF3F7582}"/>
              </a:ext>
            </a:extLst>
          </p:cNvPr>
          <p:cNvSpPr>
            <a:spLocks/>
          </p:cNvSpPr>
          <p:nvPr/>
        </p:nvSpPr>
        <p:spPr bwMode="auto">
          <a:xfrm>
            <a:off x="6877969" y="2969957"/>
            <a:ext cx="257801" cy="19794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6" name="Freeform 1535">
            <a:extLst>
              <a:ext uri="{FF2B5EF4-FFF2-40B4-BE49-F238E27FC236}">
                <a16:creationId xmlns:a16="http://schemas.microsoft.com/office/drawing/2014/main" id="{B5705748-FAB6-9682-6D9B-4E80CB87798B}"/>
              </a:ext>
            </a:extLst>
          </p:cNvPr>
          <p:cNvSpPr>
            <a:spLocks/>
          </p:cNvSpPr>
          <p:nvPr/>
        </p:nvSpPr>
        <p:spPr bwMode="auto">
          <a:xfrm>
            <a:off x="7008637" y="2841463"/>
            <a:ext cx="211890" cy="253511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7" name="Freeform 1536">
            <a:extLst>
              <a:ext uri="{FF2B5EF4-FFF2-40B4-BE49-F238E27FC236}">
                <a16:creationId xmlns:a16="http://schemas.microsoft.com/office/drawing/2014/main" id="{5EBF384F-55C7-CDE6-14F4-E04D5634DE6F}"/>
              </a:ext>
            </a:extLst>
          </p:cNvPr>
          <p:cNvSpPr>
            <a:spLocks/>
          </p:cNvSpPr>
          <p:nvPr/>
        </p:nvSpPr>
        <p:spPr bwMode="auto">
          <a:xfrm>
            <a:off x="7111048" y="3126227"/>
            <a:ext cx="130668" cy="121544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8" name="Freeform 1537">
            <a:extLst>
              <a:ext uri="{FF2B5EF4-FFF2-40B4-BE49-F238E27FC236}">
                <a16:creationId xmlns:a16="http://schemas.microsoft.com/office/drawing/2014/main" id="{15BB4FC5-F904-FB91-78DB-22A5D3A13BD0}"/>
              </a:ext>
            </a:extLst>
          </p:cNvPr>
          <p:cNvSpPr>
            <a:spLocks/>
          </p:cNvSpPr>
          <p:nvPr/>
        </p:nvSpPr>
        <p:spPr bwMode="auto">
          <a:xfrm>
            <a:off x="7305285" y="3317222"/>
            <a:ext cx="134198" cy="128494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9" name="Freeform 1538">
            <a:extLst>
              <a:ext uri="{FF2B5EF4-FFF2-40B4-BE49-F238E27FC236}">
                <a16:creationId xmlns:a16="http://schemas.microsoft.com/office/drawing/2014/main" id="{FEB9170B-34F9-9CF2-6131-876D5A6B9C44}"/>
              </a:ext>
            </a:extLst>
          </p:cNvPr>
          <p:cNvSpPr>
            <a:spLocks/>
          </p:cNvSpPr>
          <p:nvPr/>
        </p:nvSpPr>
        <p:spPr bwMode="auto">
          <a:xfrm>
            <a:off x="7164023" y="3074135"/>
            <a:ext cx="328434" cy="322962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0" name="Freeform 1539">
            <a:extLst>
              <a:ext uri="{FF2B5EF4-FFF2-40B4-BE49-F238E27FC236}">
                <a16:creationId xmlns:a16="http://schemas.microsoft.com/office/drawing/2014/main" id="{2BC3E056-300C-B998-F466-715A99895260}"/>
              </a:ext>
            </a:extLst>
          </p:cNvPr>
          <p:cNvSpPr>
            <a:spLocks/>
          </p:cNvSpPr>
          <p:nvPr/>
        </p:nvSpPr>
        <p:spPr bwMode="auto">
          <a:xfrm>
            <a:off x="7379446" y="3338063"/>
            <a:ext cx="331963" cy="32990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1" name="Freeform 1540">
            <a:extLst>
              <a:ext uri="{FF2B5EF4-FFF2-40B4-BE49-F238E27FC236}">
                <a16:creationId xmlns:a16="http://schemas.microsoft.com/office/drawing/2014/main" id="{61DC3C82-B94F-14BD-45AD-9822C410FD70}"/>
              </a:ext>
            </a:extLst>
          </p:cNvPr>
          <p:cNvSpPr>
            <a:spLocks/>
          </p:cNvSpPr>
          <p:nvPr/>
        </p:nvSpPr>
        <p:spPr bwMode="auto">
          <a:xfrm>
            <a:off x="7269968" y="2876193"/>
            <a:ext cx="413190" cy="41325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2" name="Freeform 1541">
            <a:extLst>
              <a:ext uri="{FF2B5EF4-FFF2-40B4-BE49-F238E27FC236}">
                <a16:creationId xmlns:a16="http://schemas.microsoft.com/office/drawing/2014/main" id="{D8E2BBE1-7FA6-E15E-EECA-E9C1D16FE37D}"/>
              </a:ext>
            </a:extLst>
          </p:cNvPr>
          <p:cNvSpPr>
            <a:spLocks noEditPoints="1"/>
          </p:cNvSpPr>
          <p:nvPr/>
        </p:nvSpPr>
        <p:spPr bwMode="auto">
          <a:xfrm>
            <a:off x="6888564" y="3268608"/>
            <a:ext cx="402594" cy="38547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3" name="Freeform 1542">
            <a:extLst>
              <a:ext uri="{FF2B5EF4-FFF2-40B4-BE49-F238E27FC236}">
                <a16:creationId xmlns:a16="http://schemas.microsoft.com/office/drawing/2014/main" id="{ED135977-6C34-BB8B-3292-A6B147ECB085}"/>
              </a:ext>
            </a:extLst>
          </p:cNvPr>
          <p:cNvSpPr>
            <a:spLocks noEditPoints="1"/>
          </p:cNvSpPr>
          <p:nvPr/>
        </p:nvSpPr>
        <p:spPr bwMode="auto">
          <a:xfrm>
            <a:off x="7174618" y="3223463"/>
            <a:ext cx="162451" cy="15280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4" name="Freeform 1543">
            <a:extLst>
              <a:ext uri="{FF2B5EF4-FFF2-40B4-BE49-F238E27FC236}">
                <a16:creationId xmlns:a16="http://schemas.microsoft.com/office/drawing/2014/main" id="{70EDC37F-89EE-FB12-E219-A88C2F7AE3DF}"/>
              </a:ext>
            </a:extLst>
          </p:cNvPr>
          <p:cNvSpPr>
            <a:spLocks/>
          </p:cNvSpPr>
          <p:nvPr/>
        </p:nvSpPr>
        <p:spPr bwMode="auto">
          <a:xfrm>
            <a:off x="7616057" y="2876193"/>
            <a:ext cx="70630" cy="6945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5" name="Freeform 380">
            <a:extLst>
              <a:ext uri="{FF2B5EF4-FFF2-40B4-BE49-F238E27FC236}">
                <a16:creationId xmlns:a16="http://schemas.microsoft.com/office/drawing/2014/main" id="{C2E77735-D8C9-B483-FB2E-A6A2E34FE686}"/>
              </a:ext>
            </a:extLst>
          </p:cNvPr>
          <p:cNvSpPr>
            <a:spLocks noEditPoints="1"/>
          </p:cNvSpPr>
          <p:nvPr/>
        </p:nvSpPr>
        <p:spPr bwMode="auto">
          <a:xfrm>
            <a:off x="9326827" y="2766311"/>
            <a:ext cx="677272" cy="685957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6" name="Freeform 381">
            <a:extLst>
              <a:ext uri="{FF2B5EF4-FFF2-40B4-BE49-F238E27FC236}">
                <a16:creationId xmlns:a16="http://schemas.microsoft.com/office/drawing/2014/main" id="{6F938333-07BA-C538-D0CD-BC61399058A5}"/>
              </a:ext>
            </a:extLst>
          </p:cNvPr>
          <p:cNvSpPr>
            <a:spLocks noEditPoints="1"/>
          </p:cNvSpPr>
          <p:nvPr/>
        </p:nvSpPr>
        <p:spPr bwMode="auto">
          <a:xfrm>
            <a:off x="9847798" y="3287288"/>
            <a:ext cx="347320" cy="356005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7" name="Freeform 382">
            <a:extLst>
              <a:ext uri="{FF2B5EF4-FFF2-40B4-BE49-F238E27FC236}">
                <a16:creationId xmlns:a16="http://schemas.microsoft.com/office/drawing/2014/main" id="{DD646737-57EF-B544-35B5-9665FBEF2DD4}"/>
              </a:ext>
            </a:extLst>
          </p:cNvPr>
          <p:cNvSpPr>
            <a:spLocks/>
          </p:cNvSpPr>
          <p:nvPr/>
        </p:nvSpPr>
        <p:spPr bwMode="auto">
          <a:xfrm>
            <a:off x="9439698" y="2879185"/>
            <a:ext cx="243122" cy="24312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8" name="Freeform 44">
            <a:extLst>
              <a:ext uri="{FF2B5EF4-FFF2-40B4-BE49-F238E27FC236}">
                <a16:creationId xmlns:a16="http://schemas.microsoft.com/office/drawing/2014/main" id="{C0148219-A1D4-1A70-E5BB-E34B27DD1BBF}"/>
              </a:ext>
            </a:extLst>
          </p:cNvPr>
          <p:cNvSpPr>
            <a:spLocks noEditPoints="1"/>
          </p:cNvSpPr>
          <p:nvPr/>
        </p:nvSpPr>
        <p:spPr bwMode="auto">
          <a:xfrm>
            <a:off x="4668607" y="2968624"/>
            <a:ext cx="461480" cy="46148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9" name="Freeform 45">
            <a:extLst>
              <a:ext uri="{FF2B5EF4-FFF2-40B4-BE49-F238E27FC236}">
                <a16:creationId xmlns:a16="http://schemas.microsoft.com/office/drawing/2014/main" id="{C7CAFA5C-815A-779C-4854-3D8AEBBA30DD}"/>
              </a:ext>
            </a:extLst>
          </p:cNvPr>
          <p:cNvSpPr>
            <a:spLocks noEditPoints="1"/>
          </p:cNvSpPr>
          <p:nvPr/>
        </p:nvSpPr>
        <p:spPr bwMode="auto">
          <a:xfrm>
            <a:off x="4463503" y="2763522"/>
            <a:ext cx="879008" cy="871691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0" name="Freeform 156">
            <a:extLst>
              <a:ext uri="{FF2B5EF4-FFF2-40B4-BE49-F238E27FC236}">
                <a16:creationId xmlns:a16="http://schemas.microsoft.com/office/drawing/2014/main" id="{365D2701-A0E9-8136-276F-26CFFFCC9316}"/>
              </a:ext>
            </a:extLst>
          </p:cNvPr>
          <p:cNvSpPr>
            <a:spLocks noEditPoints="1"/>
          </p:cNvSpPr>
          <p:nvPr/>
        </p:nvSpPr>
        <p:spPr bwMode="auto">
          <a:xfrm>
            <a:off x="2303087" y="3065950"/>
            <a:ext cx="393687" cy="29281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1" name="Freeform 157">
            <a:extLst>
              <a:ext uri="{FF2B5EF4-FFF2-40B4-BE49-F238E27FC236}">
                <a16:creationId xmlns:a16="http://schemas.microsoft.com/office/drawing/2014/main" id="{207601B3-ACF5-6CFE-4EAE-6D4DD87E59CF}"/>
              </a:ext>
            </a:extLst>
          </p:cNvPr>
          <p:cNvSpPr>
            <a:spLocks noEditPoints="1"/>
          </p:cNvSpPr>
          <p:nvPr/>
        </p:nvSpPr>
        <p:spPr bwMode="auto">
          <a:xfrm>
            <a:off x="2106243" y="2805680"/>
            <a:ext cx="787372" cy="780821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524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3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44</cp:revision>
  <dcterms:created xsi:type="dcterms:W3CDTF">2021-03-31T02:49:57Z</dcterms:created>
  <dcterms:modified xsi:type="dcterms:W3CDTF">2025-10-15T02:54:32Z</dcterms:modified>
  <cp:category/>
</cp:coreProperties>
</file>